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0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72.xml" ContentType="application/vnd.openxmlformats-officedocument.presentationml.tags+xml"/>
  <Override PartName="/ppt/notesSlides/notesSlide10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40" r:id="rId11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09.xml" Id="rId11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9.xml.rels>&#65279;<?xml version="1.0" encoding="utf-8"?><Relationships xmlns="http://schemas.openxmlformats.org/package/2006/relationships"><Relationship Type="http://schemas.openxmlformats.org/officeDocument/2006/relationships/slide" Target="/ppt/slides/slide109.xml" Id="rId2" /><Relationship Type="http://schemas.openxmlformats.org/officeDocument/2006/relationships/notesMaster" Target="/ppt/notesMasters/notesMaster1.xml" Id="rId1" /></Relationship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56382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72.xml" Id="rId2" /><Relationship Type="http://schemas.openxmlformats.org/officeDocument/2006/relationships/vmlDrawing" Target="/ppt/drawings/vmlDrawing11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3.bin" Id="rId5" /><Relationship Type="http://schemas.openxmlformats.org/officeDocument/2006/relationships/notesSlide" Target="/ppt/notesSlides/notesSlide109.xml" Id="rId4" /></Relationships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25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hree stairs 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27183F34-3F5B-DF2E-DDA3-4358F8D56F1A}"/>
              </a:ext>
            </a:extLst>
          </p:cNvPr>
          <p:cNvSpPr txBox="1">
            <a:spLocks/>
          </p:cNvSpPr>
          <p:nvPr/>
        </p:nvSpPr>
        <p:spPr>
          <a:xfrm>
            <a:off x="6565768" y="1566361"/>
            <a:ext cx="5254757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  <a:sym typeface="Futura"/>
              </a:rPr>
              <a:t>Lorem ipsum</a:t>
            </a:r>
          </a:p>
          <a:p>
            <a:pPr>
              <a:spcBef>
                <a:spcPts val="3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>
              <a:spcBef>
                <a:spcPts val="3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7F9221B-9C93-0A2D-7E2A-688DB6D78AC5}"/>
              </a:ext>
            </a:extLst>
          </p:cNvPr>
          <p:cNvSpPr txBox="1">
            <a:spLocks/>
          </p:cNvSpPr>
          <p:nvPr/>
        </p:nvSpPr>
        <p:spPr>
          <a:xfrm>
            <a:off x="6565768" y="3168606"/>
            <a:ext cx="5254757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  <a:p>
            <a:pPr>
              <a:spcBef>
                <a:spcPts val="3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>
              <a:spcBef>
                <a:spcPts val="3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ED907B66-B533-EC30-7019-ABBE46004449}"/>
              </a:ext>
            </a:extLst>
          </p:cNvPr>
          <p:cNvGrpSpPr>
            <a:grpSpLocks/>
          </p:cNvGrpSpPr>
          <p:nvPr/>
        </p:nvGrpSpPr>
        <p:grpSpPr>
          <a:xfrm>
            <a:off x="5640635" y="2806065"/>
            <a:ext cx="6179775" cy="1602245"/>
            <a:chOff x="5399821" y="2806065"/>
            <a:chExt cx="6420589" cy="1602245"/>
          </a:xfrm>
        </p:grpSpPr>
        <p:cxnSp>
          <p:nvCxnSpPr>
            <p:cNvPr id="21" name="Прямая соединительная линия 25">
              <a:extLst>
                <a:ext uri="{FF2B5EF4-FFF2-40B4-BE49-F238E27FC236}">
                  <a16:creationId xmlns:a16="http://schemas.microsoft.com/office/drawing/2014/main" id="{F12B7D23-B601-070A-CC88-6E121396152B}"/>
                </a:ext>
              </a:extLst>
            </p:cNvPr>
            <p:cNvCxnSpPr>
              <a:cxnSpLocks/>
            </p:cNvCxnSpPr>
            <p:nvPr/>
          </p:nvCxnSpPr>
          <p:spPr>
            <a:xfrm>
              <a:off x="5399821" y="2806065"/>
              <a:ext cx="6420589" cy="0"/>
            </a:xfrm>
            <a:prstGeom prst="line">
              <a:avLst/>
            </a:prstGeom>
            <a:ln w="6350">
              <a:solidFill>
                <a:schemeClr val="accent5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5">
              <a:extLst>
                <a:ext uri="{FF2B5EF4-FFF2-40B4-BE49-F238E27FC236}">
                  <a16:creationId xmlns:a16="http://schemas.microsoft.com/office/drawing/2014/main" id="{4C5689A3-284D-7A27-5C2C-E865A55B2E35}"/>
                </a:ext>
              </a:extLst>
            </p:cNvPr>
            <p:cNvCxnSpPr>
              <a:cxnSpLocks/>
            </p:cNvCxnSpPr>
            <p:nvPr/>
          </p:nvCxnSpPr>
          <p:spPr>
            <a:xfrm>
              <a:off x="5399821" y="4408310"/>
              <a:ext cx="6420589" cy="0"/>
            </a:xfrm>
            <a:prstGeom prst="line">
              <a:avLst/>
            </a:prstGeom>
            <a:ln w="6350">
              <a:solidFill>
                <a:schemeClr val="accent5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ADD20780-FDAF-B22A-F2EF-2E7AD5569FD8}"/>
              </a:ext>
            </a:extLst>
          </p:cNvPr>
          <p:cNvSpPr txBox="1">
            <a:spLocks/>
          </p:cNvSpPr>
          <p:nvPr/>
        </p:nvSpPr>
        <p:spPr>
          <a:xfrm>
            <a:off x="6565768" y="4770851"/>
            <a:ext cx="5254757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  <a:p>
            <a:pPr>
              <a:spcBef>
                <a:spcPts val="3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 </a:t>
            </a:r>
          </a:p>
          <a:p>
            <a:pPr>
              <a:spcBef>
                <a:spcPts val="3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7" name="Ellipse 40">
            <a:extLst>
              <a:ext uri="{FF2B5EF4-FFF2-40B4-BE49-F238E27FC236}">
                <a16:creationId xmlns:a16="http://schemas.microsoft.com/office/drawing/2014/main" id="{02CD1B94-6662-EE02-EC9B-844C33A384B9}"/>
              </a:ext>
            </a:extLst>
          </p:cNvPr>
          <p:cNvSpPr>
            <a:spLocks/>
          </p:cNvSpPr>
          <p:nvPr/>
        </p:nvSpPr>
        <p:spPr>
          <a:xfrm>
            <a:off x="5640636" y="1742890"/>
            <a:ext cx="523274" cy="5241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38" name="Ellipse 42">
            <a:extLst>
              <a:ext uri="{FF2B5EF4-FFF2-40B4-BE49-F238E27FC236}">
                <a16:creationId xmlns:a16="http://schemas.microsoft.com/office/drawing/2014/main" id="{62757B8B-E979-D452-C08B-8F6D0AFFFABC}"/>
              </a:ext>
            </a:extLst>
          </p:cNvPr>
          <p:cNvSpPr>
            <a:spLocks/>
          </p:cNvSpPr>
          <p:nvPr/>
        </p:nvSpPr>
        <p:spPr>
          <a:xfrm>
            <a:off x="5640636" y="3345134"/>
            <a:ext cx="523274" cy="5241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39" name="Ellipse 44">
            <a:extLst>
              <a:ext uri="{FF2B5EF4-FFF2-40B4-BE49-F238E27FC236}">
                <a16:creationId xmlns:a16="http://schemas.microsoft.com/office/drawing/2014/main" id="{DD6744C8-F6A3-8AB2-D179-22A3DDC214C4}"/>
              </a:ext>
            </a:extLst>
          </p:cNvPr>
          <p:cNvSpPr>
            <a:spLocks/>
          </p:cNvSpPr>
          <p:nvPr/>
        </p:nvSpPr>
        <p:spPr>
          <a:xfrm>
            <a:off x="5687615" y="4947379"/>
            <a:ext cx="523274" cy="5241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06CE492-2822-AF6D-48D2-6FF6354D39A0}"/>
              </a:ext>
            </a:extLst>
          </p:cNvPr>
          <p:cNvGrpSpPr>
            <a:grpSpLocks/>
          </p:cNvGrpSpPr>
          <p:nvPr/>
        </p:nvGrpSpPr>
        <p:grpSpPr>
          <a:xfrm>
            <a:off x="417860" y="3421146"/>
            <a:ext cx="4066005" cy="1561442"/>
            <a:chOff x="417859" y="3509278"/>
            <a:chExt cx="4561420" cy="1751691"/>
          </a:xfrm>
          <a:noFill/>
        </p:grpSpPr>
        <p:sp>
          <p:nvSpPr>
            <p:cNvPr id="44" name="Rechteck 90">
              <a:extLst>
                <a:ext uri="{FF2B5EF4-FFF2-40B4-BE49-F238E27FC236}">
                  <a16:creationId xmlns:a16="http://schemas.microsoft.com/office/drawing/2014/main" id="{99D3EE83-DB4E-D895-EF5E-0652CB109F36}"/>
                </a:ext>
              </a:extLst>
            </p:cNvPr>
            <p:cNvSpPr>
              <a:spLocks/>
            </p:cNvSpPr>
            <p:nvPr/>
          </p:nvSpPr>
          <p:spPr>
            <a:xfrm>
              <a:off x="776285" y="4318454"/>
              <a:ext cx="3490184" cy="39287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  <p:sp>
          <p:nvSpPr>
            <p:cNvPr id="45" name="Rechteck 89">
              <a:extLst>
                <a:ext uri="{FF2B5EF4-FFF2-40B4-BE49-F238E27FC236}">
                  <a16:creationId xmlns:a16="http://schemas.microsoft.com/office/drawing/2014/main" id="{7724203D-7E63-4638-553C-D1E624711FEE}"/>
                </a:ext>
              </a:extLst>
            </p:cNvPr>
            <p:cNvSpPr>
              <a:spLocks/>
            </p:cNvSpPr>
            <p:nvPr/>
          </p:nvSpPr>
          <p:spPr>
            <a:xfrm>
              <a:off x="417860" y="4861001"/>
              <a:ext cx="3495358" cy="39996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  <p:sp>
          <p:nvSpPr>
            <p:cNvPr id="46" name="Freihandform 109">
              <a:extLst>
                <a:ext uri="{FF2B5EF4-FFF2-40B4-BE49-F238E27FC236}">
                  <a16:creationId xmlns:a16="http://schemas.microsoft.com/office/drawing/2014/main" id="{48FA4E3C-3DB4-D665-A00E-D29C8C6477EC}"/>
                </a:ext>
              </a:extLst>
            </p:cNvPr>
            <p:cNvSpPr>
              <a:spLocks/>
            </p:cNvSpPr>
            <p:nvPr/>
          </p:nvSpPr>
          <p:spPr>
            <a:xfrm>
              <a:off x="1125972" y="3509278"/>
              <a:ext cx="3818510" cy="258198"/>
            </a:xfrm>
            <a:custGeom>
              <a:avLst/>
              <a:gdLst>
                <a:gd name="connsiteX0" fmla="*/ 556936 w 3450918"/>
                <a:gd name="connsiteY0" fmla="*/ 0 h 233306"/>
                <a:gd name="connsiteX1" fmla="*/ 3424935 w 3450918"/>
                <a:gd name="connsiteY1" fmla="*/ 0 h 233306"/>
                <a:gd name="connsiteX2" fmla="*/ 3450918 w 3450918"/>
                <a:gd name="connsiteY2" fmla="*/ 110134 h 233306"/>
                <a:gd name="connsiteX3" fmla="*/ 3156889 w 3450918"/>
                <a:gd name="connsiteY3" fmla="*/ 233306 h 233306"/>
                <a:gd name="connsiteX4" fmla="*/ 0 w 3450918"/>
                <a:gd name="connsiteY4" fmla="*/ 233306 h 233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0918" h="233306">
                  <a:moveTo>
                    <a:pt x="556936" y="0"/>
                  </a:moveTo>
                  <a:lnTo>
                    <a:pt x="3424935" y="0"/>
                  </a:lnTo>
                  <a:lnTo>
                    <a:pt x="3450918" y="110134"/>
                  </a:lnTo>
                  <a:lnTo>
                    <a:pt x="3156889" y="233306"/>
                  </a:lnTo>
                  <a:lnTo>
                    <a:pt x="0" y="233306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  <p:sp>
          <p:nvSpPr>
            <p:cNvPr id="47" name="Parallelogramm 21">
              <a:extLst>
                <a:ext uri="{FF2B5EF4-FFF2-40B4-BE49-F238E27FC236}">
                  <a16:creationId xmlns:a16="http://schemas.microsoft.com/office/drawing/2014/main" id="{243AD090-D43E-59A1-B8DF-61DA72AFC6C5}"/>
                </a:ext>
              </a:extLst>
            </p:cNvPr>
            <p:cNvSpPr>
              <a:spLocks/>
            </p:cNvSpPr>
            <p:nvPr/>
          </p:nvSpPr>
          <p:spPr>
            <a:xfrm>
              <a:off x="774768" y="4169176"/>
              <a:ext cx="3842419" cy="149276"/>
            </a:xfrm>
            <a:custGeom>
              <a:avLst/>
              <a:gdLst>
                <a:gd name="connsiteX0" fmla="*/ 0 w 5914200"/>
                <a:gd name="connsiteY0" fmla="*/ 233091 h 233091"/>
                <a:gd name="connsiteX1" fmla="*/ 538839 w 5914200"/>
                <a:gd name="connsiteY1" fmla="*/ 0 h 233091"/>
                <a:gd name="connsiteX2" fmla="*/ 5914200 w 5914200"/>
                <a:gd name="connsiteY2" fmla="*/ 0 h 233091"/>
                <a:gd name="connsiteX3" fmla="*/ 5375361 w 5914200"/>
                <a:gd name="connsiteY3" fmla="*/ 233091 h 233091"/>
                <a:gd name="connsiteX4" fmla="*/ 0 w 5914200"/>
                <a:gd name="connsiteY4" fmla="*/ 233091 h 233091"/>
                <a:gd name="connsiteX0" fmla="*/ 0 w 5918963"/>
                <a:gd name="connsiteY0" fmla="*/ 233091 h 233091"/>
                <a:gd name="connsiteX1" fmla="*/ 538839 w 5918963"/>
                <a:gd name="connsiteY1" fmla="*/ 0 h 233091"/>
                <a:gd name="connsiteX2" fmla="*/ 5918963 w 5918963"/>
                <a:gd name="connsiteY2" fmla="*/ 0 h 233091"/>
                <a:gd name="connsiteX3" fmla="*/ 5375361 w 5918963"/>
                <a:gd name="connsiteY3" fmla="*/ 233091 h 233091"/>
                <a:gd name="connsiteX4" fmla="*/ 0 w 5918963"/>
                <a:gd name="connsiteY4" fmla="*/ 233091 h 233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18963" h="233091">
                  <a:moveTo>
                    <a:pt x="0" y="233091"/>
                  </a:moveTo>
                  <a:lnTo>
                    <a:pt x="538839" y="0"/>
                  </a:lnTo>
                  <a:lnTo>
                    <a:pt x="5918963" y="0"/>
                  </a:lnTo>
                  <a:lnTo>
                    <a:pt x="5375361" y="233091"/>
                  </a:lnTo>
                  <a:lnTo>
                    <a:pt x="0" y="233091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  <p:sp>
          <p:nvSpPr>
            <p:cNvPr id="48" name="Parallelogramm 94">
              <a:extLst>
                <a:ext uri="{FF2B5EF4-FFF2-40B4-BE49-F238E27FC236}">
                  <a16:creationId xmlns:a16="http://schemas.microsoft.com/office/drawing/2014/main" id="{2244B6AE-A005-B36C-28BB-F10436DF63D9}"/>
                </a:ext>
              </a:extLst>
            </p:cNvPr>
            <p:cNvSpPr>
              <a:spLocks/>
            </p:cNvSpPr>
            <p:nvPr/>
          </p:nvSpPr>
          <p:spPr>
            <a:xfrm>
              <a:off x="417859" y="4711328"/>
              <a:ext cx="3862843" cy="151458"/>
            </a:xfrm>
            <a:prstGeom prst="parallelogram">
              <a:avLst>
                <a:gd name="adj" fmla="val 245266"/>
              </a:avLst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  <p:sp>
          <p:nvSpPr>
            <p:cNvPr id="49" name="Freihandform 111">
              <a:extLst>
                <a:ext uri="{FF2B5EF4-FFF2-40B4-BE49-F238E27FC236}">
                  <a16:creationId xmlns:a16="http://schemas.microsoft.com/office/drawing/2014/main" id="{A13391EA-68B9-E399-23F0-24F64C52372B}"/>
                </a:ext>
              </a:extLst>
            </p:cNvPr>
            <p:cNvSpPr>
              <a:spLocks/>
            </p:cNvSpPr>
            <p:nvPr/>
          </p:nvSpPr>
          <p:spPr>
            <a:xfrm rot="16200000" flipH="1">
              <a:off x="3629094" y="3910783"/>
              <a:ext cx="1634307" cy="1066062"/>
            </a:xfrm>
            <a:custGeom>
              <a:avLst/>
              <a:gdLst>
                <a:gd name="connsiteX0" fmla="*/ 0 w 1476755"/>
                <a:gd name="connsiteY0" fmla="*/ 933678 h 966082"/>
                <a:gd name="connsiteX1" fmla="*/ 137350 w 1476755"/>
                <a:gd name="connsiteY1" fmla="*/ 966082 h 966082"/>
                <a:gd name="connsiteX2" fmla="*/ 1179781 w 1476755"/>
                <a:gd name="connsiteY2" fmla="*/ 720153 h 966082"/>
                <a:gd name="connsiteX3" fmla="*/ 1476755 w 1476755"/>
                <a:gd name="connsiteY3" fmla="*/ 2798 h 966082"/>
                <a:gd name="connsiteX4" fmla="*/ 1116153 w 1476755"/>
                <a:gd name="connsiteY4" fmla="*/ 0 h 966082"/>
                <a:gd name="connsiteX5" fmla="*/ 989943 w 1476755"/>
                <a:gd name="connsiteY5" fmla="*/ 314510 h 966082"/>
                <a:gd name="connsiteX6" fmla="*/ 627661 w 1476755"/>
                <a:gd name="connsiteY6" fmla="*/ 317307 h 966082"/>
                <a:gd name="connsiteX7" fmla="*/ 490331 w 1476755"/>
                <a:gd name="connsiteY7" fmla="*/ 637969 h 966082"/>
                <a:gd name="connsiteX8" fmla="*/ 123223 w 1476755"/>
                <a:gd name="connsiteY8" fmla="*/ 637968 h 966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76755" h="966082">
                  <a:moveTo>
                    <a:pt x="0" y="933678"/>
                  </a:moveTo>
                  <a:lnTo>
                    <a:pt x="137350" y="966082"/>
                  </a:lnTo>
                  <a:lnTo>
                    <a:pt x="1179781" y="720153"/>
                  </a:lnTo>
                  <a:lnTo>
                    <a:pt x="1476755" y="2798"/>
                  </a:lnTo>
                  <a:lnTo>
                    <a:pt x="1116153" y="0"/>
                  </a:lnTo>
                  <a:lnTo>
                    <a:pt x="989943" y="314510"/>
                  </a:lnTo>
                  <a:lnTo>
                    <a:pt x="627661" y="317307"/>
                  </a:lnTo>
                  <a:lnTo>
                    <a:pt x="490331" y="637969"/>
                  </a:lnTo>
                  <a:lnTo>
                    <a:pt x="123223" y="637968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  <p:sp>
          <p:nvSpPr>
            <p:cNvPr id="50" name="Rechteck 91">
              <a:extLst>
                <a:ext uri="{FF2B5EF4-FFF2-40B4-BE49-F238E27FC236}">
                  <a16:creationId xmlns:a16="http://schemas.microsoft.com/office/drawing/2014/main" id="{C54ADF18-33B9-9756-6C1D-B17F2A412C92}"/>
                </a:ext>
              </a:extLst>
            </p:cNvPr>
            <p:cNvSpPr>
              <a:spLocks/>
            </p:cNvSpPr>
            <p:nvPr/>
          </p:nvSpPr>
          <p:spPr>
            <a:xfrm>
              <a:off x="1125972" y="3762896"/>
              <a:ext cx="3490183" cy="40891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 err="1">
                <a:solidFill>
                  <a:srgbClr val="000000"/>
                </a:solidFill>
              </a:endParaRPr>
            </a:p>
          </p:txBody>
        </p:sp>
      </p:grp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E33652CB-04F9-1B18-8883-A7B2CE983222}"/>
              </a:ext>
            </a:extLst>
          </p:cNvPr>
          <p:cNvSpPr>
            <a:spLocks/>
          </p:cNvSpPr>
          <p:nvPr/>
        </p:nvSpPr>
        <p:spPr>
          <a:xfrm>
            <a:off x="2358733" y="3034145"/>
            <a:ext cx="1184564" cy="1948296"/>
          </a:xfrm>
          <a:custGeom>
            <a:avLst/>
            <a:gdLst>
              <a:gd name="connsiteX0" fmla="*/ 0 w 1184564"/>
              <a:gd name="connsiteY0" fmla="*/ 1948296 h 1948296"/>
              <a:gd name="connsiteX1" fmla="*/ 0 w 1184564"/>
              <a:gd name="connsiteY1" fmla="*/ 1600200 h 1948296"/>
              <a:gd name="connsiteX2" fmla="*/ 332509 w 1184564"/>
              <a:gd name="connsiteY2" fmla="*/ 1454728 h 1948296"/>
              <a:gd name="connsiteX3" fmla="*/ 332509 w 1184564"/>
              <a:gd name="connsiteY3" fmla="*/ 1111828 h 1948296"/>
              <a:gd name="connsiteX4" fmla="*/ 639041 w 1184564"/>
              <a:gd name="connsiteY4" fmla="*/ 981941 h 1948296"/>
              <a:gd name="connsiteX5" fmla="*/ 639041 w 1184564"/>
              <a:gd name="connsiteY5" fmla="*/ 613064 h 1948296"/>
              <a:gd name="connsiteX6" fmla="*/ 1184564 w 1184564"/>
              <a:gd name="connsiteY6" fmla="*/ 379269 h 1948296"/>
              <a:gd name="connsiteX7" fmla="*/ 1184564 w 1184564"/>
              <a:gd name="connsiteY7" fmla="*/ 0 h 1948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564" h="1948296">
                <a:moveTo>
                  <a:pt x="0" y="1948296"/>
                </a:moveTo>
                <a:lnTo>
                  <a:pt x="0" y="1600200"/>
                </a:lnTo>
                <a:lnTo>
                  <a:pt x="332509" y="1454728"/>
                </a:lnTo>
                <a:lnTo>
                  <a:pt x="332509" y="1111828"/>
                </a:lnTo>
                <a:lnTo>
                  <a:pt x="639041" y="981941"/>
                </a:lnTo>
                <a:lnTo>
                  <a:pt x="639041" y="613064"/>
                </a:lnTo>
                <a:lnTo>
                  <a:pt x="1184564" y="379269"/>
                </a:lnTo>
                <a:lnTo>
                  <a:pt x="1184564" y="0"/>
                </a:lnTo>
              </a:path>
            </a:pathLst>
          </a:custGeom>
          <a:noFill/>
          <a:ln w="381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Ellipse 40">
            <a:extLst>
              <a:ext uri="{FF2B5EF4-FFF2-40B4-BE49-F238E27FC236}">
                <a16:creationId xmlns:a16="http://schemas.microsoft.com/office/drawing/2014/main" id="{6A8F43FB-0439-814C-C3D2-4EDE14D16C32}"/>
              </a:ext>
            </a:extLst>
          </p:cNvPr>
          <p:cNvSpPr>
            <a:spLocks/>
          </p:cNvSpPr>
          <p:nvPr/>
        </p:nvSpPr>
        <p:spPr>
          <a:xfrm>
            <a:off x="2236853" y="3311572"/>
            <a:ext cx="387184" cy="38779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75" name="Ellipse 42">
            <a:extLst>
              <a:ext uri="{FF2B5EF4-FFF2-40B4-BE49-F238E27FC236}">
                <a16:creationId xmlns:a16="http://schemas.microsoft.com/office/drawing/2014/main" id="{0A11C6BB-74C0-59B0-E4A1-F19F23686103}"/>
              </a:ext>
            </a:extLst>
          </p:cNvPr>
          <p:cNvSpPr>
            <a:spLocks/>
          </p:cNvSpPr>
          <p:nvPr/>
        </p:nvSpPr>
        <p:spPr>
          <a:xfrm>
            <a:off x="1889645" y="3838910"/>
            <a:ext cx="387184" cy="38779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76" name="Ellipse 44">
            <a:extLst>
              <a:ext uri="{FF2B5EF4-FFF2-40B4-BE49-F238E27FC236}">
                <a16:creationId xmlns:a16="http://schemas.microsoft.com/office/drawing/2014/main" id="{452A286E-7DCD-750A-E3B9-774304D023D7}"/>
              </a:ext>
            </a:extLst>
          </p:cNvPr>
          <p:cNvSpPr>
            <a:spLocks/>
          </p:cNvSpPr>
          <p:nvPr/>
        </p:nvSpPr>
        <p:spPr>
          <a:xfrm>
            <a:off x="1542437" y="4366248"/>
            <a:ext cx="387184" cy="38779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76394728-683E-8785-75A7-B979C33275AD}"/>
              </a:ext>
            </a:extLst>
          </p:cNvPr>
          <p:cNvGrpSpPr>
            <a:grpSpLocks/>
          </p:cNvGrpSpPr>
          <p:nvPr/>
        </p:nvGrpSpPr>
        <p:grpSpPr>
          <a:xfrm>
            <a:off x="4720296" y="1566361"/>
            <a:ext cx="485099" cy="4491539"/>
            <a:chOff x="4609083" y="1566361"/>
            <a:chExt cx="485099" cy="4491539"/>
          </a:xfrm>
        </p:grpSpPr>
        <p:cxnSp>
          <p:nvCxnSpPr>
            <p:cNvPr id="77" name="Gerader Verbinder 46">
              <a:extLst>
                <a:ext uri="{FF2B5EF4-FFF2-40B4-BE49-F238E27FC236}">
                  <a16:creationId xmlns:a16="http://schemas.microsoft.com/office/drawing/2014/main" id="{497EC43C-17DA-268E-7952-A886AA509FC6}"/>
                </a:ext>
              </a:extLst>
            </p:cNvPr>
            <p:cNvCxnSpPr>
              <a:cxnSpLocks/>
            </p:cNvCxnSpPr>
            <p:nvPr/>
          </p:nvCxnSpPr>
          <p:spPr>
            <a:xfrm>
              <a:off x="4851632" y="1566361"/>
              <a:ext cx="0" cy="4491539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2EA09038-B419-B8F0-53F0-4EE775339847}"/>
                </a:ext>
              </a:extLst>
            </p:cNvPr>
            <p:cNvSpPr>
              <a:spLocks/>
            </p:cNvSpPr>
            <p:nvPr/>
          </p:nvSpPr>
          <p:spPr>
            <a:xfrm>
              <a:off x="4609083" y="3557224"/>
              <a:ext cx="485099" cy="485099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78" name="Gleichschenkliges Dreieck 15">
              <a:extLst>
                <a:ext uri="{FF2B5EF4-FFF2-40B4-BE49-F238E27FC236}">
                  <a16:creationId xmlns:a16="http://schemas.microsoft.com/office/drawing/2014/main" id="{F6A2E0D3-80E4-56C4-30FB-E232AB3AA7D6}"/>
                </a:ext>
              </a:extLst>
            </p:cNvPr>
            <p:cNvSpPr>
              <a:spLocks/>
            </p:cNvSpPr>
            <p:nvPr/>
          </p:nvSpPr>
          <p:spPr>
            <a:xfrm rot="5400000">
              <a:off x="4717918" y="3725664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6D8F1DB-4B80-218D-5FBA-928D1442B08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2991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air, process, processes, plan, plans</a:t>
            </a:r>
          </a:p>
        </p:txBody>
      </p:sp>
    </p:spTree>
    <p:extLst>
      <p:ext uri="{BB962C8B-B14F-4D97-AF65-F5344CB8AC3E}">
        <p14:creationId xmlns:p14="http://schemas.microsoft.com/office/powerpoint/2010/main" val="2216477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